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sldIdLst>
    <p:sldId id="256" r:id="rId3"/>
    <p:sldId id="258" r:id="rId4"/>
    <p:sldId id="259" r:id="rId5"/>
    <p:sldId id="260" r:id="rId6"/>
  </p:sldIdLst>
  <p:sldSz cx="21945600" cy="5486400"/>
  <p:notesSz cx="6858000" cy="9144000"/>
  <p:custDataLst>
    <p:tags r:id="rId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144" y="13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43200" y="897890"/>
            <a:ext cx="16459200" cy="1910080"/>
          </a:xfrm>
        </p:spPr>
        <p:txBody>
          <a:bodyPr anchor="b"/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43200" y="2881630"/>
            <a:ext cx="16459200" cy="1324610"/>
          </a:xfrm>
        </p:spPr>
        <p:txBody>
          <a:bodyPr/>
          <a:lstStyle>
            <a:lvl1pPr marL="0" indent="0" algn="ctr">
              <a:buNone/>
              <a:defRPr sz="1920"/>
            </a:lvl1pPr>
            <a:lvl2pPr marL="365760" indent="0" algn="ctr">
              <a:buNone/>
              <a:defRPr sz="1600"/>
            </a:lvl2pPr>
            <a:lvl3pPr marL="731520" indent="0" algn="ctr">
              <a:buNone/>
              <a:defRPr sz="1440"/>
            </a:lvl3pPr>
            <a:lvl4pPr marL="1097280" indent="0" algn="ctr">
              <a:buNone/>
              <a:defRPr sz="1280"/>
            </a:lvl4pPr>
            <a:lvl5pPr marL="1463040" indent="0" algn="ctr">
              <a:buNone/>
              <a:defRPr sz="1280"/>
            </a:lvl5pPr>
            <a:lvl6pPr marL="1828800" indent="0" algn="ctr">
              <a:buNone/>
              <a:defRPr sz="1280"/>
            </a:lvl6pPr>
            <a:lvl7pPr marL="2194560" indent="0" algn="ctr">
              <a:buNone/>
              <a:defRPr sz="1280"/>
            </a:lvl7pPr>
            <a:lvl8pPr marL="2560320" indent="0" algn="ctr">
              <a:buNone/>
              <a:defRPr sz="1280"/>
            </a:lvl8pPr>
            <a:lvl9pPr marL="2926080" indent="0" algn="ctr">
              <a:buNone/>
              <a:defRPr sz="128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124921-8944-45EE-AB35-7BED0EA443FF}" type="datetimeFigureOut">
              <a:rPr lang="en-US" smtClean="0"/>
              <a:t>4/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3C3A2-7DFE-46F5-B362-D5D83E1CE0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28498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124921-8944-45EE-AB35-7BED0EA443FF}" type="datetimeFigureOut">
              <a:rPr lang="en-US" smtClean="0"/>
              <a:t>4/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3C3A2-7DFE-46F5-B362-D5D83E1CE0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29589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5704820" y="292100"/>
            <a:ext cx="4732020" cy="464947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508760" y="292100"/>
            <a:ext cx="13921740" cy="464947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124921-8944-45EE-AB35-7BED0EA443FF}" type="datetimeFigureOut">
              <a:rPr lang="en-US" smtClean="0"/>
              <a:t>4/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3C3A2-7DFE-46F5-B362-D5D83E1CE0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53841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43200" y="897890"/>
            <a:ext cx="16459200" cy="1910080"/>
          </a:xfrm>
        </p:spPr>
        <p:txBody>
          <a:bodyPr anchor="b"/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43200" y="2881630"/>
            <a:ext cx="16459200" cy="1324610"/>
          </a:xfrm>
        </p:spPr>
        <p:txBody>
          <a:bodyPr/>
          <a:lstStyle>
            <a:lvl1pPr marL="0" indent="0" algn="ctr">
              <a:buNone/>
              <a:defRPr sz="1920"/>
            </a:lvl1pPr>
            <a:lvl2pPr marL="365760" indent="0" algn="ctr">
              <a:buNone/>
              <a:defRPr sz="1600"/>
            </a:lvl2pPr>
            <a:lvl3pPr marL="731520" indent="0" algn="ctr">
              <a:buNone/>
              <a:defRPr sz="1440"/>
            </a:lvl3pPr>
            <a:lvl4pPr marL="1097280" indent="0" algn="ctr">
              <a:buNone/>
              <a:defRPr sz="1280"/>
            </a:lvl4pPr>
            <a:lvl5pPr marL="1463040" indent="0" algn="ctr">
              <a:buNone/>
              <a:defRPr sz="1280"/>
            </a:lvl5pPr>
            <a:lvl6pPr marL="1828800" indent="0" algn="ctr">
              <a:buNone/>
              <a:defRPr sz="1280"/>
            </a:lvl6pPr>
            <a:lvl7pPr marL="2194560" indent="0" algn="ctr">
              <a:buNone/>
              <a:defRPr sz="1280"/>
            </a:lvl7pPr>
            <a:lvl8pPr marL="2560320" indent="0" algn="ctr">
              <a:buNone/>
              <a:defRPr sz="1280"/>
            </a:lvl8pPr>
            <a:lvl9pPr marL="2926080" indent="0" algn="ctr">
              <a:buNone/>
              <a:defRPr sz="128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011ADB-4873-44CF-BEB9-4F3AC349BA23}" type="datetimeFigureOut">
              <a:rPr lang="en-US" smtClean="0"/>
              <a:t>4/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F09E39-A83A-407B-9F28-CFBDAC980B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9223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011ADB-4873-44CF-BEB9-4F3AC349BA23}" type="datetimeFigureOut">
              <a:rPr lang="en-US" smtClean="0"/>
              <a:t>4/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F09E39-A83A-407B-9F28-CFBDAC980B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03584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7330" y="1367791"/>
            <a:ext cx="18928080" cy="2282190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97330" y="3671571"/>
            <a:ext cx="18928080" cy="1200150"/>
          </a:xfrm>
        </p:spPr>
        <p:txBody>
          <a:bodyPr/>
          <a:lstStyle>
            <a:lvl1pPr marL="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1pPr>
            <a:lvl2pPr marL="3657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731520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3pPr>
            <a:lvl4pPr marL="1097280" indent="0">
              <a:buNone/>
              <a:defRPr sz="1280">
                <a:solidFill>
                  <a:schemeClr val="tx1">
                    <a:tint val="75000"/>
                  </a:schemeClr>
                </a:solidFill>
              </a:defRPr>
            </a:lvl4pPr>
            <a:lvl5pPr marL="1463040" indent="0">
              <a:buNone/>
              <a:defRPr sz="1280">
                <a:solidFill>
                  <a:schemeClr val="tx1">
                    <a:tint val="75000"/>
                  </a:schemeClr>
                </a:solidFill>
              </a:defRPr>
            </a:lvl5pPr>
            <a:lvl6pPr marL="1828800" indent="0">
              <a:buNone/>
              <a:defRPr sz="1280">
                <a:solidFill>
                  <a:schemeClr val="tx1">
                    <a:tint val="75000"/>
                  </a:schemeClr>
                </a:solidFill>
              </a:defRPr>
            </a:lvl6pPr>
            <a:lvl7pPr marL="2194560" indent="0">
              <a:buNone/>
              <a:defRPr sz="1280">
                <a:solidFill>
                  <a:schemeClr val="tx1">
                    <a:tint val="75000"/>
                  </a:schemeClr>
                </a:solidFill>
              </a:defRPr>
            </a:lvl7pPr>
            <a:lvl8pPr marL="2560320" indent="0">
              <a:buNone/>
              <a:defRPr sz="1280">
                <a:solidFill>
                  <a:schemeClr val="tx1">
                    <a:tint val="75000"/>
                  </a:schemeClr>
                </a:solidFill>
              </a:defRPr>
            </a:lvl8pPr>
            <a:lvl9pPr marL="2926080" indent="0">
              <a:buNone/>
              <a:defRPr sz="12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011ADB-4873-44CF-BEB9-4F3AC349BA23}" type="datetimeFigureOut">
              <a:rPr lang="en-US" smtClean="0"/>
              <a:t>4/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F09E39-A83A-407B-9F28-CFBDAC980B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35245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08760" y="1460500"/>
            <a:ext cx="9326880" cy="34810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109960" y="1460500"/>
            <a:ext cx="9326880" cy="34810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011ADB-4873-44CF-BEB9-4F3AC349BA23}" type="datetimeFigureOut">
              <a:rPr lang="en-US" smtClean="0"/>
              <a:t>4/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F09E39-A83A-407B-9F28-CFBDAC980B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23615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11618" y="292101"/>
            <a:ext cx="18928080" cy="10604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11619" y="1344930"/>
            <a:ext cx="9284017" cy="659130"/>
          </a:xfrm>
        </p:spPr>
        <p:txBody>
          <a:bodyPr anchor="b"/>
          <a:lstStyle>
            <a:lvl1pPr marL="0" indent="0">
              <a:buNone/>
              <a:defRPr sz="1920" b="1"/>
            </a:lvl1pPr>
            <a:lvl2pPr marL="365760" indent="0">
              <a:buNone/>
              <a:defRPr sz="1600" b="1"/>
            </a:lvl2pPr>
            <a:lvl3pPr marL="731520" indent="0">
              <a:buNone/>
              <a:defRPr sz="1440" b="1"/>
            </a:lvl3pPr>
            <a:lvl4pPr marL="1097280" indent="0">
              <a:buNone/>
              <a:defRPr sz="1280" b="1"/>
            </a:lvl4pPr>
            <a:lvl5pPr marL="1463040" indent="0">
              <a:buNone/>
              <a:defRPr sz="1280" b="1"/>
            </a:lvl5pPr>
            <a:lvl6pPr marL="1828800" indent="0">
              <a:buNone/>
              <a:defRPr sz="1280" b="1"/>
            </a:lvl6pPr>
            <a:lvl7pPr marL="2194560" indent="0">
              <a:buNone/>
              <a:defRPr sz="1280" b="1"/>
            </a:lvl7pPr>
            <a:lvl8pPr marL="2560320" indent="0">
              <a:buNone/>
              <a:defRPr sz="1280" b="1"/>
            </a:lvl8pPr>
            <a:lvl9pPr marL="2926080" indent="0">
              <a:buNone/>
              <a:defRPr sz="128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11619" y="2004060"/>
            <a:ext cx="9284017" cy="29476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1109960" y="1344930"/>
            <a:ext cx="9329738" cy="659130"/>
          </a:xfrm>
        </p:spPr>
        <p:txBody>
          <a:bodyPr anchor="b"/>
          <a:lstStyle>
            <a:lvl1pPr marL="0" indent="0">
              <a:buNone/>
              <a:defRPr sz="1920" b="1"/>
            </a:lvl1pPr>
            <a:lvl2pPr marL="365760" indent="0">
              <a:buNone/>
              <a:defRPr sz="1600" b="1"/>
            </a:lvl2pPr>
            <a:lvl3pPr marL="731520" indent="0">
              <a:buNone/>
              <a:defRPr sz="1440" b="1"/>
            </a:lvl3pPr>
            <a:lvl4pPr marL="1097280" indent="0">
              <a:buNone/>
              <a:defRPr sz="1280" b="1"/>
            </a:lvl4pPr>
            <a:lvl5pPr marL="1463040" indent="0">
              <a:buNone/>
              <a:defRPr sz="1280" b="1"/>
            </a:lvl5pPr>
            <a:lvl6pPr marL="1828800" indent="0">
              <a:buNone/>
              <a:defRPr sz="1280" b="1"/>
            </a:lvl6pPr>
            <a:lvl7pPr marL="2194560" indent="0">
              <a:buNone/>
              <a:defRPr sz="1280" b="1"/>
            </a:lvl7pPr>
            <a:lvl8pPr marL="2560320" indent="0">
              <a:buNone/>
              <a:defRPr sz="1280" b="1"/>
            </a:lvl8pPr>
            <a:lvl9pPr marL="2926080" indent="0">
              <a:buNone/>
              <a:defRPr sz="128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1109960" y="2004060"/>
            <a:ext cx="9329738" cy="29476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011ADB-4873-44CF-BEB9-4F3AC349BA23}" type="datetimeFigureOut">
              <a:rPr lang="en-US" smtClean="0"/>
              <a:t>4/1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F09E39-A83A-407B-9F28-CFBDAC980B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35009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011ADB-4873-44CF-BEB9-4F3AC349BA23}" type="datetimeFigureOut">
              <a:rPr lang="en-US" smtClean="0"/>
              <a:t>4/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F09E39-A83A-407B-9F28-CFBDAC980B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33291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011ADB-4873-44CF-BEB9-4F3AC349BA23}" type="datetimeFigureOut">
              <a:rPr lang="en-US" smtClean="0"/>
              <a:t>4/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F09E39-A83A-407B-9F28-CFBDAC980B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93427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11619" y="365760"/>
            <a:ext cx="7078027" cy="1280160"/>
          </a:xfrm>
        </p:spPr>
        <p:txBody>
          <a:bodyPr anchor="b"/>
          <a:lstStyle>
            <a:lvl1pPr>
              <a:defRPr sz="256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329738" y="789940"/>
            <a:ext cx="11109960" cy="3898900"/>
          </a:xfrm>
        </p:spPr>
        <p:txBody>
          <a:bodyPr/>
          <a:lstStyle>
            <a:lvl1pPr>
              <a:defRPr sz="2560"/>
            </a:lvl1pPr>
            <a:lvl2pPr>
              <a:defRPr sz="2240"/>
            </a:lvl2pPr>
            <a:lvl3pPr>
              <a:defRPr sz="192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511619" y="1645920"/>
            <a:ext cx="7078027" cy="3049270"/>
          </a:xfrm>
        </p:spPr>
        <p:txBody>
          <a:bodyPr/>
          <a:lstStyle>
            <a:lvl1pPr marL="0" indent="0">
              <a:buNone/>
              <a:defRPr sz="1280"/>
            </a:lvl1pPr>
            <a:lvl2pPr marL="365760" indent="0">
              <a:buNone/>
              <a:defRPr sz="1120"/>
            </a:lvl2pPr>
            <a:lvl3pPr marL="731520" indent="0">
              <a:buNone/>
              <a:defRPr sz="960"/>
            </a:lvl3pPr>
            <a:lvl4pPr marL="1097280" indent="0">
              <a:buNone/>
              <a:defRPr sz="800"/>
            </a:lvl4pPr>
            <a:lvl5pPr marL="1463040" indent="0">
              <a:buNone/>
              <a:defRPr sz="800"/>
            </a:lvl5pPr>
            <a:lvl6pPr marL="1828800" indent="0">
              <a:buNone/>
              <a:defRPr sz="800"/>
            </a:lvl6pPr>
            <a:lvl7pPr marL="2194560" indent="0">
              <a:buNone/>
              <a:defRPr sz="800"/>
            </a:lvl7pPr>
            <a:lvl8pPr marL="2560320" indent="0">
              <a:buNone/>
              <a:defRPr sz="800"/>
            </a:lvl8pPr>
            <a:lvl9pPr marL="2926080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011ADB-4873-44CF-BEB9-4F3AC349BA23}" type="datetimeFigureOut">
              <a:rPr lang="en-US" smtClean="0"/>
              <a:t>4/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F09E39-A83A-407B-9F28-CFBDAC980B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20324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124921-8944-45EE-AB35-7BED0EA443FF}" type="datetimeFigureOut">
              <a:rPr lang="en-US" smtClean="0"/>
              <a:t>4/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3C3A2-7DFE-46F5-B362-D5D83E1CE0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0552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11619" y="365760"/>
            <a:ext cx="7078027" cy="1280160"/>
          </a:xfrm>
        </p:spPr>
        <p:txBody>
          <a:bodyPr anchor="b"/>
          <a:lstStyle>
            <a:lvl1pPr>
              <a:defRPr sz="256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329738" y="789940"/>
            <a:ext cx="11109960" cy="3898900"/>
          </a:xfrm>
        </p:spPr>
        <p:txBody>
          <a:bodyPr anchor="t"/>
          <a:lstStyle>
            <a:lvl1pPr marL="0" indent="0">
              <a:buNone/>
              <a:defRPr sz="2560"/>
            </a:lvl1pPr>
            <a:lvl2pPr marL="365760" indent="0">
              <a:buNone/>
              <a:defRPr sz="2240"/>
            </a:lvl2pPr>
            <a:lvl3pPr marL="731520" indent="0">
              <a:buNone/>
              <a:defRPr sz="1920"/>
            </a:lvl3pPr>
            <a:lvl4pPr marL="1097280" indent="0">
              <a:buNone/>
              <a:defRPr sz="1600"/>
            </a:lvl4pPr>
            <a:lvl5pPr marL="1463040" indent="0">
              <a:buNone/>
              <a:defRPr sz="1600"/>
            </a:lvl5pPr>
            <a:lvl6pPr marL="1828800" indent="0">
              <a:buNone/>
              <a:defRPr sz="1600"/>
            </a:lvl6pPr>
            <a:lvl7pPr marL="2194560" indent="0">
              <a:buNone/>
              <a:defRPr sz="1600"/>
            </a:lvl7pPr>
            <a:lvl8pPr marL="2560320" indent="0">
              <a:buNone/>
              <a:defRPr sz="1600"/>
            </a:lvl8pPr>
            <a:lvl9pPr marL="292608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511619" y="1645920"/>
            <a:ext cx="7078027" cy="3049270"/>
          </a:xfrm>
        </p:spPr>
        <p:txBody>
          <a:bodyPr/>
          <a:lstStyle>
            <a:lvl1pPr marL="0" indent="0">
              <a:buNone/>
              <a:defRPr sz="1280"/>
            </a:lvl1pPr>
            <a:lvl2pPr marL="365760" indent="0">
              <a:buNone/>
              <a:defRPr sz="1120"/>
            </a:lvl2pPr>
            <a:lvl3pPr marL="731520" indent="0">
              <a:buNone/>
              <a:defRPr sz="960"/>
            </a:lvl3pPr>
            <a:lvl4pPr marL="1097280" indent="0">
              <a:buNone/>
              <a:defRPr sz="800"/>
            </a:lvl4pPr>
            <a:lvl5pPr marL="1463040" indent="0">
              <a:buNone/>
              <a:defRPr sz="800"/>
            </a:lvl5pPr>
            <a:lvl6pPr marL="1828800" indent="0">
              <a:buNone/>
              <a:defRPr sz="800"/>
            </a:lvl6pPr>
            <a:lvl7pPr marL="2194560" indent="0">
              <a:buNone/>
              <a:defRPr sz="800"/>
            </a:lvl7pPr>
            <a:lvl8pPr marL="2560320" indent="0">
              <a:buNone/>
              <a:defRPr sz="800"/>
            </a:lvl8pPr>
            <a:lvl9pPr marL="2926080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011ADB-4873-44CF-BEB9-4F3AC349BA23}" type="datetimeFigureOut">
              <a:rPr lang="en-US" smtClean="0"/>
              <a:t>4/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F09E39-A83A-407B-9F28-CFBDAC980B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59511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011ADB-4873-44CF-BEB9-4F3AC349BA23}" type="datetimeFigureOut">
              <a:rPr lang="en-US" smtClean="0"/>
              <a:t>4/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F09E39-A83A-407B-9F28-CFBDAC980B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21977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5704820" y="292100"/>
            <a:ext cx="4732020" cy="464947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508760" y="292100"/>
            <a:ext cx="13921740" cy="464947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011ADB-4873-44CF-BEB9-4F3AC349BA23}" type="datetimeFigureOut">
              <a:rPr lang="en-US" smtClean="0"/>
              <a:t>4/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F09E39-A83A-407B-9F28-CFBDAC980B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46027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97330" y="1367791"/>
            <a:ext cx="18928080" cy="2282190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97330" y="3671571"/>
            <a:ext cx="18928080" cy="1200150"/>
          </a:xfrm>
        </p:spPr>
        <p:txBody>
          <a:bodyPr/>
          <a:lstStyle>
            <a:lvl1pPr marL="0" indent="0">
              <a:buNone/>
              <a:defRPr sz="1920">
                <a:solidFill>
                  <a:schemeClr val="tx1">
                    <a:tint val="75000"/>
                  </a:schemeClr>
                </a:solidFill>
              </a:defRPr>
            </a:lvl1pPr>
            <a:lvl2pPr marL="36576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731520" indent="0">
              <a:buNone/>
              <a:defRPr sz="1440">
                <a:solidFill>
                  <a:schemeClr val="tx1">
                    <a:tint val="75000"/>
                  </a:schemeClr>
                </a:solidFill>
              </a:defRPr>
            </a:lvl3pPr>
            <a:lvl4pPr marL="1097280" indent="0">
              <a:buNone/>
              <a:defRPr sz="1280">
                <a:solidFill>
                  <a:schemeClr val="tx1">
                    <a:tint val="75000"/>
                  </a:schemeClr>
                </a:solidFill>
              </a:defRPr>
            </a:lvl4pPr>
            <a:lvl5pPr marL="1463040" indent="0">
              <a:buNone/>
              <a:defRPr sz="1280">
                <a:solidFill>
                  <a:schemeClr val="tx1">
                    <a:tint val="75000"/>
                  </a:schemeClr>
                </a:solidFill>
              </a:defRPr>
            </a:lvl5pPr>
            <a:lvl6pPr marL="1828800" indent="0">
              <a:buNone/>
              <a:defRPr sz="1280">
                <a:solidFill>
                  <a:schemeClr val="tx1">
                    <a:tint val="75000"/>
                  </a:schemeClr>
                </a:solidFill>
              </a:defRPr>
            </a:lvl6pPr>
            <a:lvl7pPr marL="2194560" indent="0">
              <a:buNone/>
              <a:defRPr sz="1280">
                <a:solidFill>
                  <a:schemeClr val="tx1">
                    <a:tint val="75000"/>
                  </a:schemeClr>
                </a:solidFill>
              </a:defRPr>
            </a:lvl7pPr>
            <a:lvl8pPr marL="2560320" indent="0">
              <a:buNone/>
              <a:defRPr sz="1280">
                <a:solidFill>
                  <a:schemeClr val="tx1">
                    <a:tint val="75000"/>
                  </a:schemeClr>
                </a:solidFill>
              </a:defRPr>
            </a:lvl8pPr>
            <a:lvl9pPr marL="2926080" indent="0">
              <a:buNone/>
              <a:defRPr sz="128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124921-8944-45EE-AB35-7BED0EA443FF}" type="datetimeFigureOut">
              <a:rPr lang="en-US" smtClean="0"/>
              <a:t>4/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3C3A2-7DFE-46F5-B362-D5D83E1CE0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96891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08760" y="1460500"/>
            <a:ext cx="9326880" cy="34810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109960" y="1460500"/>
            <a:ext cx="9326880" cy="34810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124921-8944-45EE-AB35-7BED0EA443FF}" type="datetimeFigureOut">
              <a:rPr lang="en-US" smtClean="0"/>
              <a:t>4/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3C3A2-7DFE-46F5-B362-D5D83E1CE0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36006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11618" y="292101"/>
            <a:ext cx="18928080" cy="10604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11619" y="1344930"/>
            <a:ext cx="9284017" cy="659130"/>
          </a:xfrm>
        </p:spPr>
        <p:txBody>
          <a:bodyPr anchor="b"/>
          <a:lstStyle>
            <a:lvl1pPr marL="0" indent="0">
              <a:buNone/>
              <a:defRPr sz="1920" b="1"/>
            </a:lvl1pPr>
            <a:lvl2pPr marL="365760" indent="0">
              <a:buNone/>
              <a:defRPr sz="1600" b="1"/>
            </a:lvl2pPr>
            <a:lvl3pPr marL="731520" indent="0">
              <a:buNone/>
              <a:defRPr sz="1440" b="1"/>
            </a:lvl3pPr>
            <a:lvl4pPr marL="1097280" indent="0">
              <a:buNone/>
              <a:defRPr sz="1280" b="1"/>
            </a:lvl4pPr>
            <a:lvl5pPr marL="1463040" indent="0">
              <a:buNone/>
              <a:defRPr sz="1280" b="1"/>
            </a:lvl5pPr>
            <a:lvl6pPr marL="1828800" indent="0">
              <a:buNone/>
              <a:defRPr sz="1280" b="1"/>
            </a:lvl6pPr>
            <a:lvl7pPr marL="2194560" indent="0">
              <a:buNone/>
              <a:defRPr sz="1280" b="1"/>
            </a:lvl7pPr>
            <a:lvl8pPr marL="2560320" indent="0">
              <a:buNone/>
              <a:defRPr sz="1280" b="1"/>
            </a:lvl8pPr>
            <a:lvl9pPr marL="2926080" indent="0">
              <a:buNone/>
              <a:defRPr sz="128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511619" y="2004060"/>
            <a:ext cx="9284017" cy="29476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11109960" y="1344930"/>
            <a:ext cx="9329738" cy="659130"/>
          </a:xfrm>
        </p:spPr>
        <p:txBody>
          <a:bodyPr anchor="b"/>
          <a:lstStyle>
            <a:lvl1pPr marL="0" indent="0">
              <a:buNone/>
              <a:defRPr sz="1920" b="1"/>
            </a:lvl1pPr>
            <a:lvl2pPr marL="365760" indent="0">
              <a:buNone/>
              <a:defRPr sz="1600" b="1"/>
            </a:lvl2pPr>
            <a:lvl3pPr marL="731520" indent="0">
              <a:buNone/>
              <a:defRPr sz="1440" b="1"/>
            </a:lvl3pPr>
            <a:lvl4pPr marL="1097280" indent="0">
              <a:buNone/>
              <a:defRPr sz="1280" b="1"/>
            </a:lvl4pPr>
            <a:lvl5pPr marL="1463040" indent="0">
              <a:buNone/>
              <a:defRPr sz="1280" b="1"/>
            </a:lvl5pPr>
            <a:lvl6pPr marL="1828800" indent="0">
              <a:buNone/>
              <a:defRPr sz="1280" b="1"/>
            </a:lvl6pPr>
            <a:lvl7pPr marL="2194560" indent="0">
              <a:buNone/>
              <a:defRPr sz="1280" b="1"/>
            </a:lvl7pPr>
            <a:lvl8pPr marL="2560320" indent="0">
              <a:buNone/>
              <a:defRPr sz="1280" b="1"/>
            </a:lvl8pPr>
            <a:lvl9pPr marL="2926080" indent="0">
              <a:buNone/>
              <a:defRPr sz="128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11109960" y="2004060"/>
            <a:ext cx="9329738" cy="29476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124921-8944-45EE-AB35-7BED0EA443FF}" type="datetimeFigureOut">
              <a:rPr lang="en-US" smtClean="0"/>
              <a:t>4/1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3C3A2-7DFE-46F5-B362-D5D83E1CE0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84520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124921-8944-45EE-AB35-7BED0EA443FF}" type="datetimeFigureOut">
              <a:rPr lang="en-US" smtClean="0"/>
              <a:t>4/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3C3A2-7DFE-46F5-B362-D5D83E1CE0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9927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124921-8944-45EE-AB35-7BED0EA443FF}" type="datetimeFigureOut">
              <a:rPr lang="en-US" smtClean="0"/>
              <a:t>4/1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3C3A2-7DFE-46F5-B362-D5D83E1CE0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40286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11619" y="365760"/>
            <a:ext cx="7078027" cy="1280160"/>
          </a:xfrm>
        </p:spPr>
        <p:txBody>
          <a:bodyPr anchor="b"/>
          <a:lstStyle>
            <a:lvl1pPr>
              <a:defRPr sz="256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329738" y="789940"/>
            <a:ext cx="11109960" cy="3898900"/>
          </a:xfrm>
        </p:spPr>
        <p:txBody>
          <a:bodyPr/>
          <a:lstStyle>
            <a:lvl1pPr>
              <a:defRPr sz="2560"/>
            </a:lvl1pPr>
            <a:lvl2pPr>
              <a:defRPr sz="2240"/>
            </a:lvl2pPr>
            <a:lvl3pPr>
              <a:defRPr sz="192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511619" y="1645920"/>
            <a:ext cx="7078027" cy="3049270"/>
          </a:xfrm>
        </p:spPr>
        <p:txBody>
          <a:bodyPr/>
          <a:lstStyle>
            <a:lvl1pPr marL="0" indent="0">
              <a:buNone/>
              <a:defRPr sz="1280"/>
            </a:lvl1pPr>
            <a:lvl2pPr marL="365760" indent="0">
              <a:buNone/>
              <a:defRPr sz="1120"/>
            </a:lvl2pPr>
            <a:lvl3pPr marL="731520" indent="0">
              <a:buNone/>
              <a:defRPr sz="960"/>
            </a:lvl3pPr>
            <a:lvl4pPr marL="1097280" indent="0">
              <a:buNone/>
              <a:defRPr sz="800"/>
            </a:lvl4pPr>
            <a:lvl5pPr marL="1463040" indent="0">
              <a:buNone/>
              <a:defRPr sz="800"/>
            </a:lvl5pPr>
            <a:lvl6pPr marL="1828800" indent="0">
              <a:buNone/>
              <a:defRPr sz="800"/>
            </a:lvl6pPr>
            <a:lvl7pPr marL="2194560" indent="0">
              <a:buNone/>
              <a:defRPr sz="800"/>
            </a:lvl7pPr>
            <a:lvl8pPr marL="2560320" indent="0">
              <a:buNone/>
              <a:defRPr sz="800"/>
            </a:lvl8pPr>
            <a:lvl9pPr marL="2926080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124921-8944-45EE-AB35-7BED0EA443FF}" type="datetimeFigureOut">
              <a:rPr lang="en-US" smtClean="0"/>
              <a:t>4/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3C3A2-7DFE-46F5-B362-D5D83E1CE0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7506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11619" y="365760"/>
            <a:ext cx="7078027" cy="1280160"/>
          </a:xfrm>
        </p:spPr>
        <p:txBody>
          <a:bodyPr anchor="b"/>
          <a:lstStyle>
            <a:lvl1pPr>
              <a:defRPr sz="256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329738" y="789940"/>
            <a:ext cx="11109960" cy="3898900"/>
          </a:xfrm>
        </p:spPr>
        <p:txBody>
          <a:bodyPr anchor="t"/>
          <a:lstStyle>
            <a:lvl1pPr marL="0" indent="0">
              <a:buNone/>
              <a:defRPr sz="2560"/>
            </a:lvl1pPr>
            <a:lvl2pPr marL="365760" indent="0">
              <a:buNone/>
              <a:defRPr sz="2240"/>
            </a:lvl2pPr>
            <a:lvl3pPr marL="731520" indent="0">
              <a:buNone/>
              <a:defRPr sz="1920"/>
            </a:lvl3pPr>
            <a:lvl4pPr marL="1097280" indent="0">
              <a:buNone/>
              <a:defRPr sz="1600"/>
            </a:lvl4pPr>
            <a:lvl5pPr marL="1463040" indent="0">
              <a:buNone/>
              <a:defRPr sz="1600"/>
            </a:lvl5pPr>
            <a:lvl6pPr marL="1828800" indent="0">
              <a:buNone/>
              <a:defRPr sz="1600"/>
            </a:lvl6pPr>
            <a:lvl7pPr marL="2194560" indent="0">
              <a:buNone/>
              <a:defRPr sz="1600"/>
            </a:lvl7pPr>
            <a:lvl8pPr marL="2560320" indent="0">
              <a:buNone/>
              <a:defRPr sz="1600"/>
            </a:lvl8pPr>
            <a:lvl9pPr marL="292608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511619" y="1645920"/>
            <a:ext cx="7078027" cy="3049270"/>
          </a:xfrm>
        </p:spPr>
        <p:txBody>
          <a:bodyPr/>
          <a:lstStyle>
            <a:lvl1pPr marL="0" indent="0">
              <a:buNone/>
              <a:defRPr sz="1280"/>
            </a:lvl1pPr>
            <a:lvl2pPr marL="365760" indent="0">
              <a:buNone/>
              <a:defRPr sz="1120"/>
            </a:lvl2pPr>
            <a:lvl3pPr marL="731520" indent="0">
              <a:buNone/>
              <a:defRPr sz="960"/>
            </a:lvl3pPr>
            <a:lvl4pPr marL="1097280" indent="0">
              <a:buNone/>
              <a:defRPr sz="800"/>
            </a:lvl4pPr>
            <a:lvl5pPr marL="1463040" indent="0">
              <a:buNone/>
              <a:defRPr sz="800"/>
            </a:lvl5pPr>
            <a:lvl6pPr marL="1828800" indent="0">
              <a:buNone/>
              <a:defRPr sz="800"/>
            </a:lvl6pPr>
            <a:lvl7pPr marL="2194560" indent="0">
              <a:buNone/>
              <a:defRPr sz="800"/>
            </a:lvl7pPr>
            <a:lvl8pPr marL="2560320" indent="0">
              <a:buNone/>
              <a:defRPr sz="800"/>
            </a:lvl8pPr>
            <a:lvl9pPr marL="2926080" indent="0">
              <a:buNone/>
              <a:defRPr sz="8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124921-8944-45EE-AB35-7BED0EA443FF}" type="datetimeFigureOut">
              <a:rPr lang="en-US" smtClean="0"/>
              <a:t>4/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43C3A2-7DFE-46F5-B362-D5D83E1CE0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08116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1ED38E2-8D46-1487-9F2D-7AD85B8B7D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566185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08760" y="292101"/>
            <a:ext cx="18928080" cy="10604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08760" y="1460500"/>
            <a:ext cx="18928080" cy="348107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508760" y="5085080"/>
            <a:ext cx="4937760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124921-8944-45EE-AB35-7BED0EA443FF}" type="datetimeFigureOut">
              <a:rPr lang="en-US" smtClean="0"/>
              <a:t>4/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69480" y="5085080"/>
            <a:ext cx="7406640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499080" y="5085080"/>
            <a:ext cx="4937760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43C3A2-7DFE-46F5-B362-D5D83E1CE0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2639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731520" rtl="0" eaLnBrk="1" latinLnBrk="0" hangingPunct="1">
        <a:lnSpc>
          <a:spcPct val="90000"/>
        </a:lnSpc>
        <a:spcBef>
          <a:spcPct val="0"/>
        </a:spcBef>
        <a:buNone/>
        <a:defRPr sz="352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73152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224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indent="-182880" algn="l" defTabSz="73152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182880" algn="l" defTabSz="73152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80160" indent="-182880" algn="l" defTabSz="73152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44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indent="-182880" algn="l" defTabSz="73152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440" kern="1200">
          <a:solidFill>
            <a:schemeClr val="tx1"/>
          </a:solidFill>
          <a:latin typeface="+mn-lt"/>
          <a:ea typeface="+mn-ea"/>
          <a:cs typeface="+mn-cs"/>
        </a:defRPr>
      </a:lvl5pPr>
      <a:lvl6pPr marL="2011680" indent="-182880" algn="l" defTabSz="73152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440" kern="120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182880" algn="l" defTabSz="73152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440" kern="1200">
          <a:solidFill>
            <a:schemeClr val="tx1"/>
          </a:solidFill>
          <a:latin typeface="+mn-lt"/>
          <a:ea typeface="+mn-ea"/>
          <a:cs typeface="+mn-cs"/>
        </a:defRPr>
      </a:lvl7pPr>
      <a:lvl8pPr marL="2743200" indent="-182880" algn="l" defTabSz="73152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440" kern="1200">
          <a:solidFill>
            <a:schemeClr val="tx1"/>
          </a:solidFill>
          <a:latin typeface="+mn-lt"/>
          <a:ea typeface="+mn-ea"/>
          <a:cs typeface="+mn-cs"/>
        </a:defRPr>
      </a:lvl8pPr>
      <a:lvl9pPr marL="3108960" indent="-182880" algn="l" defTabSz="73152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4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31520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1pPr>
      <a:lvl2pPr marL="365760" algn="l" defTabSz="731520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algn="l" defTabSz="731520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algn="l" defTabSz="731520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4pPr>
      <a:lvl5pPr marL="1463040" algn="l" defTabSz="731520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5pPr>
      <a:lvl6pPr marL="1828800" algn="l" defTabSz="731520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6pPr>
      <a:lvl7pPr marL="2194560" algn="l" defTabSz="731520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7pPr>
      <a:lvl8pPr marL="2560320" algn="l" defTabSz="731520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8pPr>
      <a:lvl9pPr marL="2926080" algn="l" defTabSz="731520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08760" y="292101"/>
            <a:ext cx="18928080" cy="10604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508760" y="1460500"/>
            <a:ext cx="18928080" cy="348107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508760" y="5085080"/>
            <a:ext cx="4937760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2011ADB-4873-44CF-BEB9-4F3AC349BA23}" type="datetimeFigureOut">
              <a:rPr lang="en-US" smtClean="0"/>
              <a:t>4/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69480" y="5085080"/>
            <a:ext cx="7406640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5499080" y="5085080"/>
            <a:ext cx="4937760" cy="2921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6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F09E39-A83A-407B-9F28-CFBDAC980B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80768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731520" rtl="0" eaLnBrk="1" latinLnBrk="0" hangingPunct="1">
        <a:lnSpc>
          <a:spcPct val="90000"/>
        </a:lnSpc>
        <a:spcBef>
          <a:spcPct val="0"/>
        </a:spcBef>
        <a:buNone/>
        <a:defRPr sz="352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731520" rtl="0" eaLnBrk="1" latinLnBrk="0" hangingPunct="1">
        <a:lnSpc>
          <a:spcPct val="90000"/>
        </a:lnSpc>
        <a:spcBef>
          <a:spcPts val="800"/>
        </a:spcBef>
        <a:buFont typeface="Arial" panose="020B0604020202020204" pitchFamily="34" charset="0"/>
        <a:buChar char="•"/>
        <a:defRPr sz="2240" kern="1200">
          <a:solidFill>
            <a:schemeClr val="tx1"/>
          </a:solidFill>
          <a:latin typeface="+mn-lt"/>
          <a:ea typeface="+mn-ea"/>
          <a:cs typeface="+mn-cs"/>
        </a:defRPr>
      </a:lvl1pPr>
      <a:lvl2pPr marL="548640" indent="-182880" algn="l" defTabSz="73152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92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182880" algn="l" defTabSz="73152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80160" indent="-182880" algn="l" defTabSz="73152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44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0" indent="-182880" algn="l" defTabSz="73152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440" kern="1200">
          <a:solidFill>
            <a:schemeClr val="tx1"/>
          </a:solidFill>
          <a:latin typeface="+mn-lt"/>
          <a:ea typeface="+mn-ea"/>
          <a:cs typeface="+mn-cs"/>
        </a:defRPr>
      </a:lvl5pPr>
      <a:lvl6pPr marL="2011680" indent="-182880" algn="l" defTabSz="73152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440" kern="120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182880" algn="l" defTabSz="73152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440" kern="1200">
          <a:solidFill>
            <a:schemeClr val="tx1"/>
          </a:solidFill>
          <a:latin typeface="+mn-lt"/>
          <a:ea typeface="+mn-ea"/>
          <a:cs typeface="+mn-cs"/>
        </a:defRPr>
      </a:lvl7pPr>
      <a:lvl8pPr marL="2743200" indent="-182880" algn="l" defTabSz="73152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440" kern="1200">
          <a:solidFill>
            <a:schemeClr val="tx1"/>
          </a:solidFill>
          <a:latin typeface="+mn-lt"/>
          <a:ea typeface="+mn-ea"/>
          <a:cs typeface="+mn-cs"/>
        </a:defRPr>
      </a:lvl8pPr>
      <a:lvl9pPr marL="3108960" indent="-182880" algn="l" defTabSz="73152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44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31520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1pPr>
      <a:lvl2pPr marL="365760" algn="l" defTabSz="731520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algn="l" defTabSz="731520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3pPr>
      <a:lvl4pPr marL="1097280" algn="l" defTabSz="731520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4pPr>
      <a:lvl5pPr marL="1463040" algn="l" defTabSz="731520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5pPr>
      <a:lvl6pPr marL="1828800" algn="l" defTabSz="731520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6pPr>
      <a:lvl7pPr marL="2194560" algn="l" defTabSz="731520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7pPr>
      <a:lvl8pPr marL="2560320" algn="l" defTabSz="731520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8pPr>
      <a:lvl9pPr marL="2926080" algn="l" defTabSz="731520" rtl="0" eaLnBrk="1" latinLnBrk="0" hangingPunct="1">
        <a:defRPr sz="144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B286124-2F08-6C56-3B75-34384F81415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17241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7541A0FF-4B3B-E93A-AC5F-81C830EB628C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914373" y="632787"/>
            <a:ext cx="19653603" cy="1202146"/>
            <a:chOff x="914373" y="690905"/>
            <a:chExt cx="8229593" cy="503377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C467B74B-BDA2-6968-E0DE-A389710D64B8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914373" y="838682"/>
              <a:ext cx="8229593" cy="3556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/>
            <a:lstStyle/>
            <a:p>
              <a:pPr marL="0" marR="0" lvl="0" indent="0" algn="l" defTabSz="11833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ade Gothic Next Cond" panose="020B0506040303020004" pitchFamily="34" charset="0"/>
                  <a:ea typeface="+mn-ea"/>
                  <a:cs typeface="Iskoola Pota" panose="020B0604020202020204" pitchFamily="34" charset="0"/>
                </a:rPr>
                <a:t>Example Signage Design #2 (</a:t>
              </a:r>
              <a:r>
                <a:rPr lang="en-US" sz="4000" b="1" dirty="0">
                  <a:solidFill>
                    <a:prstClr val="black"/>
                  </a:solidFill>
                  <a:latin typeface="Trade Gothic Next Cond" panose="020B0506040303020004" pitchFamily="34" charset="0"/>
                  <a:cs typeface="Iskoola Pota" panose="020B0604020202020204" pitchFamily="34" charset="0"/>
                </a:rPr>
                <a:t>6</a:t>
              </a:r>
              <a:r>
                <a:rPr kumimoji="0" lang="en-US" sz="4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ade Gothic Next Cond" panose="020B0506040303020004" pitchFamily="34" charset="0"/>
                  <a:ea typeface="+mn-ea"/>
                  <a:cs typeface="Iskoola Pota" panose="020B0604020202020204" pitchFamily="34" charset="0"/>
                </a:rPr>
                <a:t>” x 24”)</a:t>
              </a: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793DF335-DEB3-2679-F0D6-80F3EB573F5A}"/>
                </a:ext>
              </a:extLst>
            </p:cNvPr>
            <p:cNvPicPr>
              <a:picLocks noGrp="1" noRot="1" noMove="1" noResize="1" noEditPoints="1" noAdjustHandles="1" noChangeArrowheads="1" noChangeShapeType="1" noCrop="1"/>
            </p:cNvPicPr>
            <p:nvPr/>
          </p:nvPicPr>
          <p:blipFill rotWithShape="1">
            <a:blip r:embed="rId5">
              <a:duotone>
                <a:prstClr val="black"/>
                <a:srgbClr val="D9C3A5">
                  <a:tint val="50000"/>
                  <a:satMod val="18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-100000" contrast="100000"/>
                      </a14:imgEffect>
                    </a14:imgLayer>
                  </a14:imgProps>
                </a:ext>
              </a:extLst>
            </a:blip>
            <a:srcRect l="3846" t="17141" r="3620" b="33996"/>
            <a:stretch/>
          </p:blipFill>
          <p:spPr>
            <a:xfrm>
              <a:off x="914373" y="690905"/>
              <a:ext cx="1585409" cy="127482"/>
            </a:xfrm>
            <a:prstGeom prst="rect">
              <a:avLst/>
            </a:prstGeom>
          </p:spPr>
        </p:pic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473FD182-0CD4-1342-24E7-5180459B355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943600" y="567732"/>
            <a:ext cx="10058400" cy="5898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11833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Trade Gothic Next HvyCd" panose="020B0906040303020004" pitchFamily="34" charset="0"/>
                <a:ea typeface="+mn-ea"/>
                <a:cs typeface="Arial" panose="020B0604020202020204" pitchFamily="34" charset="0"/>
              </a:rPr>
              <a:t>DO NOT PRIN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5BB8572-C668-EDB3-9666-46A7DE083295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14373" y="1797769"/>
            <a:ext cx="5372127" cy="284943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EFD59FC-47C2-7768-3E0E-21663FEBB48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304790" y="2060333"/>
            <a:ext cx="4738823" cy="1892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118332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hat You Need: </a:t>
            </a:r>
          </a:p>
          <a:p>
            <a:pPr marL="346075" indent="-346075" defTabSz="1183325">
              <a:lnSpc>
                <a:spcPct val="110000"/>
              </a:lnSpc>
              <a:spcAft>
                <a:spcPts val="1200"/>
              </a:spcAft>
              <a:buFont typeface="Wingdings" panose="05000000000000000000" pitchFamily="2" charset="2"/>
              <a:buChar char="¨"/>
              <a:defRPr/>
            </a:pPr>
            <a:r>
              <a:rPr lang="en-US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leted “Required Reunion Signage” activity and decisions for signage text, location, and size</a:t>
            </a:r>
          </a:p>
          <a:p>
            <a:pPr marL="346075" indent="-346075" defTabSz="1183325">
              <a:lnSpc>
                <a:spcPct val="110000"/>
              </a:lnSpc>
              <a:spcAft>
                <a:spcPts val="1200"/>
              </a:spcAft>
              <a:buFont typeface="Wingdings" panose="05000000000000000000" pitchFamily="2" charset="2"/>
              <a:buChar char="¨"/>
              <a:defRPr/>
            </a:pPr>
            <a:r>
              <a:rPr lang="en-US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sen vendor for signage printing</a:t>
            </a:r>
          </a:p>
          <a:p>
            <a:pPr marL="346075" indent="-346075" defTabSz="1183325">
              <a:lnSpc>
                <a:spcPct val="110000"/>
              </a:lnSpc>
              <a:spcAft>
                <a:spcPts val="1200"/>
              </a:spcAft>
              <a:buFont typeface="Wingdings" panose="05000000000000000000" pitchFamily="2" charset="2"/>
              <a:buChar char="¨"/>
              <a:defRPr/>
            </a:pPr>
            <a:r>
              <a:rPr lang="en-US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ing decisions like event logo, color scheme, and font</a:t>
            </a:r>
            <a:endParaRPr lang="en-US" sz="1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2E5F654-1D8D-DA79-0B25-168C7EC3D51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914373" y="4911175"/>
            <a:ext cx="7051067" cy="248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118332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© Copyright 2023 Danny Loomans. All rights reserved.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02F2314-5919-A4F0-6A76-8DEB307E151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414936" y="4914939"/>
            <a:ext cx="7051067" cy="2480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l" defTabSz="118332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bmit Questions or Feedback at uncommongenealogist.com/templat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AF78F36-AAFB-822A-CC6E-88435B3C7156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676918" y="1797768"/>
            <a:ext cx="14354310" cy="284943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6EF4F56-FEF4-7BDB-5301-D66BB8484D8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943589" y="2060333"/>
            <a:ext cx="6658111" cy="1892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l" defTabSz="118332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mplate Guidance:</a:t>
            </a:r>
          </a:p>
          <a:p>
            <a:pPr marL="346075" marR="0" lvl="0" indent="-346075" algn="l" defTabSz="118332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¨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mplete Activity #14 “Required Reunion Signage” in the workbook</a:t>
            </a:r>
          </a:p>
          <a:p>
            <a:pPr marL="346075" marR="0" lvl="0" indent="-346075" algn="l" defTabSz="118332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¨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view the following pages in this template—some examples of overhead signage</a:t>
            </a:r>
            <a:endParaRPr lang="en-US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6075" marR="0" lvl="0" indent="-346075" algn="l" defTabSz="118332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¨"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it the text on the signage pages you will leverage; all the text is easily editable and should be updated based on your needs</a:t>
            </a:r>
          </a:p>
          <a:p>
            <a:pPr marL="346075" marR="0" lvl="0" indent="-346075" algn="l" defTabSz="118332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¨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nsider any updates related to the color scheme; the current design uses a blue-green color that should be replaced in favor of your own reunion event color palette</a:t>
            </a:r>
            <a:r>
              <a:rPr lang="en-US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you may need to change the background color, outline color, and text color on the various design examples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30AB26B-C939-3140-72A0-4DE48195B3F0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4141542" y="2496328"/>
            <a:ext cx="6658111" cy="18928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346075" marR="0" lvl="0" indent="-346075" algn="l" defTabSz="118332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¨"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you need more pages, simply copy and paste a slide</a:t>
            </a:r>
          </a:p>
          <a:p>
            <a:pPr marL="346075" marR="0" lvl="0" indent="-346075" algn="l" defTabSz="118332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¨"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it your work and perform spell check</a:t>
            </a:r>
          </a:p>
          <a:p>
            <a:pPr marL="346075" marR="0" lvl="0" indent="-346075" algn="l" defTabSz="118332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¨"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ete this page and save the document as a PDF (you can export or print it as a PDF)</a:t>
            </a:r>
          </a:p>
          <a:p>
            <a:pPr marL="346075" marR="0" lvl="0" indent="-346075" algn="l" defTabSz="118332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Wingdings" panose="05000000000000000000" pitchFamily="2" charset="2"/>
              <a:buChar char="¨"/>
              <a:tabLst/>
              <a:defRPr/>
            </a:pPr>
            <a:r>
              <a:rPr lang="en-US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 with your signage printing vendor to submit your work and purchase your required signage using the design</a:t>
            </a:r>
          </a:p>
        </p:txBody>
      </p:sp>
    </p:spTree>
    <p:extLst>
      <p:ext uri="{BB962C8B-B14F-4D97-AF65-F5344CB8AC3E}">
        <p14:creationId xmlns:p14="http://schemas.microsoft.com/office/powerpoint/2010/main" val="5591632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55203BC-9C12-44B2-862E-2288093ED2A6}"/>
              </a:ext>
            </a:extLst>
          </p:cNvPr>
          <p:cNvSpPr/>
          <p:nvPr/>
        </p:nvSpPr>
        <p:spPr>
          <a:xfrm>
            <a:off x="914400" y="914400"/>
            <a:ext cx="20116800" cy="3657600"/>
          </a:xfrm>
          <a:prstGeom prst="rect">
            <a:avLst/>
          </a:prstGeom>
          <a:solidFill>
            <a:schemeClr val="bg1">
              <a:lumMod val="95000"/>
            </a:schemeClr>
          </a:solidFill>
          <a:ln w="152400">
            <a:solidFill>
              <a:srgbClr val="4F748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0E435CF-91D6-4159-822D-F5F0F1B0CBDB}"/>
              </a:ext>
            </a:extLst>
          </p:cNvPr>
          <p:cNvSpPr txBox="1">
            <a:spLocks/>
          </p:cNvSpPr>
          <p:nvPr/>
        </p:nvSpPr>
        <p:spPr>
          <a:xfrm>
            <a:off x="914400" y="1804086"/>
            <a:ext cx="20116800" cy="1878227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l" defTabSz="914400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ade Gothic Next Cond" panose="020B0506040303020004" pitchFamily="34" charset="0"/>
              </a:rPr>
              <a:t>FOOD &amp; REFRESHMENTS</a:t>
            </a:r>
          </a:p>
        </p:txBody>
      </p:sp>
    </p:spTree>
    <p:extLst>
      <p:ext uri="{BB962C8B-B14F-4D97-AF65-F5344CB8AC3E}">
        <p14:creationId xmlns:p14="http://schemas.microsoft.com/office/powerpoint/2010/main" val="3090676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55203BC-9C12-44B2-862E-2288093ED2A6}"/>
              </a:ext>
            </a:extLst>
          </p:cNvPr>
          <p:cNvSpPr/>
          <p:nvPr/>
        </p:nvSpPr>
        <p:spPr>
          <a:xfrm>
            <a:off x="914400" y="914400"/>
            <a:ext cx="20116800" cy="3657600"/>
          </a:xfrm>
          <a:prstGeom prst="rect">
            <a:avLst/>
          </a:prstGeom>
          <a:solidFill>
            <a:schemeClr val="bg1">
              <a:lumMod val="95000"/>
            </a:schemeClr>
          </a:solidFill>
          <a:ln w="152400">
            <a:solidFill>
              <a:srgbClr val="4F748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0E435CF-91D6-4159-822D-F5F0F1B0CBDB}"/>
              </a:ext>
            </a:extLst>
          </p:cNvPr>
          <p:cNvSpPr txBox="1">
            <a:spLocks/>
          </p:cNvSpPr>
          <p:nvPr/>
        </p:nvSpPr>
        <p:spPr>
          <a:xfrm>
            <a:off x="914399" y="1804086"/>
            <a:ext cx="20116799" cy="1878227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l" defTabSz="914400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ade Gothic Next Cond" panose="020B0506040303020004" pitchFamily="34" charset="0"/>
              </a:rPr>
              <a:t>EXPLORE OUR STORY</a:t>
            </a:r>
          </a:p>
        </p:txBody>
      </p:sp>
    </p:spTree>
    <p:extLst>
      <p:ext uri="{BB962C8B-B14F-4D97-AF65-F5344CB8AC3E}">
        <p14:creationId xmlns:p14="http://schemas.microsoft.com/office/powerpoint/2010/main" val="29425406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55203BC-9C12-44B2-862E-2288093ED2A6}"/>
              </a:ext>
            </a:extLst>
          </p:cNvPr>
          <p:cNvSpPr/>
          <p:nvPr/>
        </p:nvSpPr>
        <p:spPr>
          <a:xfrm>
            <a:off x="914400" y="914400"/>
            <a:ext cx="20116800" cy="3657600"/>
          </a:xfrm>
          <a:prstGeom prst="rect">
            <a:avLst/>
          </a:prstGeom>
          <a:solidFill>
            <a:schemeClr val="bg1">
              <a:lumMod val="95000"/>
            </a:schemeClr>
          </a:solidFill>
          <a:ln w="152400">
            <a:solidFill>
              <a:srgbClr val="4F748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0E435CF-91D6-4159-822D-F5F0F1B0CBDB}"/>
              </a:ext>
            </a:extLst>
          </p:cNvPr>
          <p:cNvSpPr txBox="1">
            <a:spLocks/>
          </p:cNvSpPr>
          <p:nvPr/>
        </p:nvSpPr>
        <p:spPr>
          <a:xfrm>
            <a:off x="914399" y="1804086"/>
            <a:ext cx="20116799" cy="1878227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l" defTabSz="914400" rtl="0" eaLnBrk="1" latinLnBrk="0" hangingPunct="1">
              <a:lnSpc>
                <a:spcPct val="110000"/>
              </a:lnSpc>
              <a:spcBef>
                <a:spcPct val="0"/>
              </a:spcBef>
              <a:buNone/>
              <a:defRPr sz="20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ade Gothic Next Cond" panose="020B0506040303020004" pitchFamily="34" charset="0"/>
              </a:rPr>
              <a:t>WELCOME &amp; CHECK IN</a:t>
            </a:r>
          </a:p>
        </p:txBody>
      </p:sp>
    </p:spTree>
    <p:extLst>
      <p:ext uri="{BB962C8B-B14F-4D97-AF65-F5344CB8AC3E}">
        <p14:creationId xmlns:p14="http://schemas.microsoft.com/office/powerpoint/2010/main" val="36445984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43</Words>
  <Application>Microsoft Office PowerPoint</Application>
  <PresentationFormat>Custom</PresentationFormat>
  <Paragraphs>20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3" baseType="lpstr">
      <vt:lpstr>Arial</vt:lpstr>
      <vt:lpstr>Calibri</vt:lpstr>
      <vt:lpstr>Calibri Light</vt:lpstr>
      <vt:lpstr>Trade Gothic Next Cond</vt:lpstr>
      <vt:lpstr>Trade Gothic Next HvyCd</vt:lpstr>
      <vt:lpstr>Wingdings</vt:lpstr>
      <vt:lpstr>Office Theme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omans, Danny</dc:creator>
  <cp:lastModifiedBy>Loomans, Danny</cp:lastModifiedBy>
  <cp:revision>1</cp:revision>
  <dcterms:created xsi:type="dcterms:W3CDTF">2023-04-01T11:45:37Z</dcterms:created>
  <dcterms:modified xsi:type="dcterms:W3CDTF">2023-04-01T11:59:06Z</dcterms:modified>
</cp:coreProperties>
</file>